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8" r:id="rId2"/>
  </p:sldMasterIdLst>
  <p:notesMasterIdLst>
    <p:notesMasterId r:id="rId7"/>
  </p:notesMasterIdLst>
  <p:handoutMasterIdLst>
    <p:handoutMasterId r:id="rId8"/>
  </p:handoutMasterIdLst>
  <p:sldIdLst>
    <p:sldId id="278" r:id="rId3"/>
    <p:sldId id="372" r:id="rId4"/>
    <p:sldId id="373" r:id="rId5"/>
    <p:sldId id="374" r:id="rId6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essica Escaffre" initials="JE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99FF"/>
    <a:srgbClr val="CC66FF"/>
    <a:srgbClr val="9900FF"/>
    <a:srgbClr val="800080"/>
    <a:srgbClr val="993366"/>
    <a:srgbClr val="9900CC"/>
    <a:srgbClr val="CC00FF"/>
    <a:srgbClr val="00CCFF"/>
    <a:srgbClr val="FF3300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115" autoAdjust="0"/>
  </p:normalViewPr>
  <p:slideViewPr>
    <p:cSldViewPr>
      <p:cViewPr varScale="1">
        <p:scale>
          <a:sx n="85" d="100"/>
          <a:sy n="85" d="100"/>
        </p:scale>
        <p:origin x="-1440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4" d="100"/>
          <a:sy n="64" d="100"/>
        </p:scale>
        <p:origin x="-3396" y="-11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9" y="2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fr-FR" smtClean="0"/>
              <a:t>24/01/2014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165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9" y="9428165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37991D-5A17-4B0D-B367-047817B9B6D1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9891233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fr-FR" smtClean="0"/>
              <a:t>24/01/2014</a:t>
            </a:r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A27384-ACFB-492C-AB09-0E4CA9DA2204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9607595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1</a:t>
            </a:fld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6567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4.w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9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1.jpeg"/><Relationship Id="rId17" Type="http://schemas.openxmlformats.org/officeDocument/2006/relationships/image" Target="../media/image8.png"/><Relationship Id="rId2" Type="http://schemas.openxmlformats.org/officeDocument/2006/relationships/tags" Target="../tags/tag4.xml"/><Relationship Id="rId16" Type="http://schemas.openxmlformats.org/officeDocument/2006/relationships/image" Target="../media/image7.emf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7.xml"/><Relationship Id="rId15" Type="http://schemas.openxmlformats.org/officeDocument/2006/relationships/image" Target="../media/image6.jpeg"/><Relationship Id="rId10" Type="http://schemas.openxmlformats.org/officeDocument/2006/relationships/tags" Target="../tags/tag12.xml"/><Relationship Id="rId19" Type="http://schemas.openxmlformats.org/officeDocument/2006/relationships/image" Target="../media/image10.jpe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 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C9E987-9371-41A0-AB78-45D0BF2BA808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380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7843ED-812E-4766-9F57-4E8F767D239C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423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5B29B7-54E4-4DAE-8B6F-FEC6DACA0CA3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636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800" b="1" dirty="0">
                <a:solidFill>
                  <a:srgbClr val="FFFFFF"/>
                </a:solidFill>
                <a:latin typeface="Arial" charset="0"/>
              </a:rPr>
              <a:t>DES ALLIAGES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800" b="1" dirty="0">
                <a:solidFill>
                  <a:srgbClr val="FFFFFF"/>
                </a:solidFill>
                <a:latin typeface="Arial" charset="0"/>
              </a:rPr>
              <a:t>DES MINERAIS ET DES HOMMES.</a:t>
            </a:r>
          </a:p>
        </p:txBody>
      </p:sp>
      <p:grpSp>
        <p:nvGrpSpPr>
          <p:cNvPr id="6" name="Group 33"/>
          <p:cNvGrpSpPr>
            <a:grpSpLocks/>
          </p:cNvGrpSpPr>
          <p:nvPr userDrawn="1"/>
        </p:nvGrpSpPr>
        <p:grpSpPr bwMode="auto">
          <a:xfrm rot="944328">
            <a:off x="31750" y="368300"/>
            <a:ext cx="1371600" cy="360363"/>
            <a:chOff x="2160" y="3744"/>
            <a:chExt cx="2160" cy="568"/>
          </a:xfrm>
        </p:grpSpPr>
        <p:sp>
          <p:nvSpPr>
            <p:cNvPr id="7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sp>
        <p:nvSpPr>
          <p:cNvPr id="9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93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61CE5-86FC-42E7-B10F-C29B0EB31135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414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graphicFrame>
        <p:nvGraphicFramePr>
          <p:cNvPr id="4" name="Obje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0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8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3" descr="IMG_1105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Organigramme : Document 9"/>
          <p:cNvSpPr/>
          <p:nvPr userDrawn="1">
            <p:custDataLst>
              <p:tags r:id="rId9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grpSp>
        <p:nvGrpSpPr>
          <p:cNvPr id="12" name="Group 33"/>
          <p:cNvGrpSpPr>
            <a:grpSpLocks/>
          </p:cNvGrpSpPr>
          <p:nvPr userDrawn="1"/>
        </p:nvGrpSpPr>
        <p:grpSpPr bwMode="auto">
          <a:xfrm rot="944328">
            <a:off x="31750" y="295275"/>
            <a:ext cx="1371600" cy="360363"/>
            <a:chOff x="2160" y="3744"/>
            <a:chExt cx="2160" cy="568"/>
          </a:xfrm>
        </p:grpSpPr>
        <p:sp>
          <p:nvSpPr>
            <p:cNvPr id="13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sp>
        <p:nvSpPr>
          <p:cNvPr id="15" name="Rectangle 14"/>
          <p:cNvSpPr>
            <a:spLocks noGrp="1" noChangeArrowheads="1"/>
          </p:cNvSpPr>
          <p:nvPr>
            <p:ph type="ftr" sz="quarter" idx="10"/>
            <p:custDataLst>
              <p:tags r:id="rId10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D54FF363-75FE-4103-8A69-7F74BF1D8442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053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 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095180-6F8E-48F8-A11E-87C9E06A45B0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474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A66C4D-5745-4EB0-AE71-D5729D1553CA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647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 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F03F73-14F8-4804-93D4-4E7A0FE0BE13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534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50C99C-E337-418B-885C-26B5AF159BBF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782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1A5BAB-A0AE-4314-86D2-FD951779A2CB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366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3545D5-917F-4DC8-864A-4A123737081A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709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2C47D-EE01-4B35-A03B-671766534C32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185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EF7E2F-01F2-4803-94EB-C10C714ACD3B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152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412B71-7EBF-422C-8789-FD586FA5FFE2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4067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BB341D-1575-4EBD-BA28-719203FFD55E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905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2B9802-CD8D-4FE3-A792-4FD71FA56D87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812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2648DB-0063-4989-B7A1-89DD9A91CC28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254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3A7CCE-AF7D-4C18-8B2D-7539B82C3BAD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912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4912FC-3A92-471F-8A59-92F7620E2E8F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23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</a:p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60635C-4C4C-4851-A6A7-581D89207CAF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062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1F7C67-71F4-414B-8CCE-53191E1E0140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07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 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052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053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2054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F89BCB-0FE8-46A9-80B5-8E397ACAFD6C}" type="slidenum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  <p:grpSp>
        <p:nvGrpSpPr>
          <p:cNvPr id="2056" name="Group 33"/>
          <p:cNvGrpSpPr>
            <a:grpSpLocks/>
          </p:cNvGrpSpPr>
          <p:nvPr userDrawn="1"/>
        </p:nvGrpSpPr>
        <p:grpSpPr bwMode="auto">
          <a:xfrm rot="944328">
            <a:off x="31750" y="223838"/>
            <a:ext cx="1371600" cy="360362"/>
            <a:chOff x="2160" y="3744"/>
            <a:chExt cx="2160" cy="568"/>
          </a:xfrm>
        </p:grpSpPr>
        <p:sp>
          <p:nvSpPr>
            <p:cNvPr id="2058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59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116632"/>
            <a:ext cx="1800200" cy="83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6441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14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28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29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0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360363" y="439738"/>
            <a:ext cx="8229600" cy="65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32" name="Text Box 9"/>
          <p:cNvSpPr txBox="1">
            <a:spLocks noChangeArrowheads="1"/>
          </p:cNvSpPr>
          <p:nvPr userDrawn="1"/>
        </p:nvSpPr>
        <p:spPr bwMode="auto">
          <a:xfrm>
            <a:off x="8361363" y="6308725"/>
            <a:ext cx="458787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2E9C068-6380-4B61-AE4B-0BB51AE15BA4}" type="slidenum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  <p:grpSp>
        <p:nvGrpSpPr>
          <p:cNvPr id="1033" name="Group 33"/>
          <p:cNvGrpSpPr>
            <a:grpSpLocks/>
          </p:cNvGrpSpPr>
          <p:nvPr userDrawn="1"/>
        </p:nvGrpSpPr>
        <p:grpSpPr bwMode="auto">
          <a:xfrm rot="944328">
            <a:off x="31750" y="152400"/>
            <a:ext cx="1371600" cy="360363"/>
            <a:chOff x="2160" y="3744"/>
            <a:chExt cx="2160" cy="568"/>
          </a:xfrm>
        </p:grpSpPr>
        <p:sp>
          <p:nvSpPr>
            <p:cNvPr id="1035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6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116632"/>
            <a:ext cx="1800200" cy="83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5002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../../Proc&#233;d&#233;/VAR/param&#232;tres_VAR_EcoTi_V2.xlsx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4797325"/>
            <a:ext cx="8640763" cy="86392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lnSpc>
                <a:spcPct val="80000"/>
              </a:lnSpc>
              <a:buFont typeface="Wingdings" pitchFamily="2" charset="2"/>
              <a:buNone/>
            </a:pPr>
            <a:r>
              <a:rPr lang="en-US" sz="2800" b="1" dirty="0" smtClean="0">
                <a:solidFill>
                  <a:schemeClr val="bg1"/>
                </a:solidFill>
              </a:rPr>
              <a:t>MEETING with ALEC MITCHELL</a:t>
            </a:r>
          </a:p>
          <a:p>
            <a:pPr marL="0" indent="0" algn="ctr" eaLnBrk="1" hangingPunct="1">
              <a:lnSpc>
                <a:spcPct val="80000"/>
              </a:lnSpc>
              <a:buFont typeface="Wingdings" pitchFamily="2" charset="2"/>
              <a:buNone/>
            </a:pPr>
            <a:r>
              <a:rPr lang="en-US" sz="2400" b="1" dirty="0" smtClean="0">
                <a:solidFill>
                  <a:schemeClr val="bg1"/>
                </a:solidFill>
              </a:rPr>
              <a:t>April 09, 2015</a:t>
            </a:r>
            <a:endParaRPr lang="en-US" sz="2400" b="1" i="1" dirty="0" smtClean="0">
              <a:solidFill>
                <a:schemeClr val="bg1"/>
              </a:solidFill>
            </a:endParaRPr>
          </a:p>
          <a:p>
            <a:pPr marL="0" indent="0" algn="ctr" eaLnBrk="1" hangingPunct="1">
              <a:lnSpc>
                <a:spcPct val="80000"/>
              </a:lnSpc>
              <a:buFont typeface="Wingdings" pitchFamily="2" charset="2"/>
              <a:buNone/>
            </a:pPr>
            <a:endParaRPr lang="en-US" sz="1800" b="1" i="1" dirty="0" smtClean="0">
              <a:solidFill>
                <a:schemeClr val="bg1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9182" y="3284984"/>
            <a:ext cx="2952328" cy="1375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7610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73545D5-917F-4DC8-864A-4A123737081A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7544" y="1196752"/>
            <a:ext cx="8424936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u="sng" dirty="0" smtClean="0"/>
              <a:t>WBU</a:t>
            </a:r>
            <a:endParaRPr lang="en-US" b="1" u="sng" dirty="0"/>
          </a:p>
          <a:p>
            <a:pPr lvl="0"/>
            <a:endParaRPr lang="en-US" dirty="0" smtClean="0">
              <a:hlinkClick r:id="rId2" action="ppaction://hlinkfile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TiO2 - introduction in the load : before the blending ? Directly in the press?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Practices to have an homogeneous chemical composition in the final ingot : variable chemical composition of the PAM electrode (Al, O…) ? Types of variations (2 or more levels, linear evolution…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Different qualities of the alloying elements (Ti sponges, </a:t>
            </a:r>
            <a:r>
              <a:rPr lang="en-US" dirty="0" err="1" smtClean="0"/>
              <a:t>masteralloys</a:t>
            </a:r>
            <a:r>
              <a:rPr lang="en-US" dirty="0" smtClean="0"/>
              <a:t>…) versus the alloys qualities (standard, premium…) ?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Need to briquetting of the alloying elements to compensate the chemical composition of the </a:t>
            </a:r>
            <a:r>
              <a:rPr lang="en-US" dirty="0" err="1" smtClean="0"/>
              <a:t>TiCP</a:t>
            </a:r>
            <a:r>
              <a:rPr lang="en-US" dirty="0" smtClean="0"/>
              <a:t> boxes ? Problems with the behavior of the materials without structural strength under the plasma torch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Use of the chips from turning, milling…?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Ideal length for the chips ? Problem if too thin : Ti fire risks </a:t>
            </a:r>
            <a:r>
              <a:rPr lang="en-US" dirty="0" smtClean="0">
                <a:sym typeface="Wingdings" panose="05000000000000000000" pitchFamily="2" charset="2"/>
              </a:rPr>
              <a:t> hard alph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ym typeface="Wingdings" panose="05000000000000000000" pitchFamily="2" charset="2"/>
              </a:rPr>
              <a:t>Limit sizes of the elements in the PAM furnace ? Causes of these limits? </a:t>
            </a: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Need to achieve uniform compaction of the briquettes? Particularly if  presence of </a:t>
            </a:r>
            <a:r>
              <a:rPr lang="en-US" dirty="0" err="1" smtClean="0"/>
              <a:t>nitrided</a:t>
            </a:r>
            <a:r>
              <a:rPr lang="en-US" dirty="0" smtClean="0"/>
              <a:t> sponges (good compaction = fragmentation of the sponges and better elimination)</a:t>
            </a:r>
            <a:endParaRPr lang="fr-FR" dirty="0"/>
          </a:p>
          <a:p>
            <a:pPr marL="285750" lvl="0" indent="-285750">
              <a:buFont typeface="Wingdings" panose="05000000000000000000" pitchFamily="2" charset="2"/>
              <a:buChar char="ü"/>
            </a:pPr>
            <a:endParaRPr lang="en-US" dirty="0" smtClean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899592" y="403449"/>
            <a:ext cx="7920434" cy="649287"/>
          </a:xfrm>
          <a:ln>
            <a:noFill/>
          </a:ln>
        </p:spPr>
        <p:txBody>
          <a:bodyPr/>
          <a:lstStyle/>
          <a:p>
            <a:pPr eaLnBrk="1" hangingPunct="1"/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603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73545D5-917F-4DC8-864A-4A123737081A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7544" y="1124744"/>
            <a:ext cx="8424936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b="1" u="sng" dirty="0" smtClean="0"/>
              <a:t>PAM</a:t>
            </a:r>
            <a:endParaRPr lang="en-US" b="1" u="sng" dirty="0"/>
          </a:p>
          <a:p>
            <a:pPr lvl="0"/>
            <a:endParaRPr lang="en-US" dirty="0">
              <a:hlinkClick r:id="" action="ppaction://noaction"/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/>
              <a:t>Minimum residence </a:t>
            </a:r>
            <a:r>
              <a:rPr lang="en-US" dirty="0" smtClean="0"/>
              <a:t>time versus the PAM parameters </a:t>
            </a:r>
            <a:r>
              <a:rPr lang="en-US" dirty="0" smtClean="0"/>
              <a:t>to avoid hard alpha ?  </a:t>
            </a:r>
            <a:endParaRPr lang="en-US" dirty="0" smtClean="0"/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/>
              <a:t>Width and depth of the liquid pool in the refining hearth </a:t>
            </a:r>
            <a:r>
              <a:rPr lang="en-US" dirty="0" smtClean="0"/>
              <a:t>?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/>
              <a:t>Melt rate suitable for premium quality with our PAM? </a:t>
            </a:r>
            <a:endParaRPr lang="en-US" dirty="0" smtClean="0"/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/>
              <a:t>Processing of the skull : frequency to change the skull? Criteria (melt number, contamination…) ? Method to identify the contamination (analysis, sampling…) Practices to clean the skull? 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/>
              <a:t>Practices to change the skull : is it possible to perform MIG welding </a:t>
            </a:r>
            <a:r>
              <a:rPr lang="en-US" dirty="0" smtClean="0"/>
              <a:t>to have handling devices </a:t>
            </a:r>
            <a:r>
              <a:rPr lang="en-US" dirty="0" smtClean="0"/>
              <a:t>on </a:t>
            </a:r>
            <a:r>
              <a:rPr lang="en-US" dirty="0" smtClean="0"/>
              <a:t>the skull</a:t>
            </a:r>
            <a:r>
              <a:rPr lang="en-US" dirty="0" smtClean="0"/>
              <a:t>?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/>
              <a:t>Need to restore the cold hearth after each campaign ? </a:t>
            </a:r>
            <a:endParaRPr lang="en-US" dirty="0" smtClean="0"/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/>
              <a:t>Possibility to clean the skull via a mini-melt between 2 electrodes ? Quid of the cleaning in the bottom of the electrode (= biscuit of the VAR electrode</a:t>
            </a:r>
            <a:r>
              <a:rPr lang="en-US" dirty="0" smtClean="0"/>
              <a:t>)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Camera in the mold zone : Best position to determine the liquid level?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Requirements to chain up the campaigns (chemical composition, quality…)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err="1" smtClean="0"/>
              <a:t>TiAl</a:t>
            </a:r>
            <a:r>
              <a:rPr lang="en-US" dirty="0" smtClean="0"/>
              <a:t> </a:t>
            </a:r>
            <a:r>
              <a:rPr lang="en-US" dirty="0"/>
              <a:t>: quid of the Al evaporation for pressures &lt; 1 </a:t>
            </a:r>
            <a:r>
              <a:rPr lang="en-US" dirty="0" err="1"/>
              <a:t>atm</a:t>
            </a:r>
            <a:r>
              <a:rPr lang="en-US" dirty="0"/>
              <a:t>? 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899592" y="403449"/>
            <a:ext cx="7920434" cy="649287"/>
          </a:xfrm>
          <a:ln>
            <a:noFill/>
          </a:ln>
        </p:spPr>
        <p:txBody>
          <a:bodyPr/>
          <a:lstStyle/>
          <a:p>
            <a:pPr eaLnBrk="1" hangingPunct="1"/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668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73545D5-917F-4DC8-864A-4A123737081A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7544" y="1124744"/>
            <a:ext cx="842493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US" b="1" u="sng" dirty="0" smtClean="0"/>
              <a:t>Miscellaneous </a:t>
            </a:r>
          </a:p>
          <a:p>
            <a:pPr lvl="0"/>
            <a:endParaRPr lang="en-US" dirty="0" smtClean="0">
              <a:hlinkClick r:id="" action="ppaction://noaction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Method to weld stub / electrode in the VAR furnace?</a:t>
            </a:r>
            <a:endParaRPr lang="en-US" dirty="0" smtClean="0"/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/>
              <a:t>Difference </a:t>
            </a:r>
            <a:r>
              <a:rPr lang="en-US" dirty="0" smtClean="0"/>
              <a:t>between the alloy qualities (standard / Premium / Disc quality) ? 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/>
              <a:t>Separation of flow between standard and PQ products? </a:t>
            </a:r>
          </a:p>
          <a:p>
            <a:pPr lvl="0"/>
            <a:endParaRPr lang="en-US" dirty="0" smtClean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899592" y="403449"/>
            <a:ext cx="7920434" cy="649287"/>
          </a:xfrm>
          <a:ln>
            <a:noFill/>
          </a:ln>
        </p:spPr>
        <p:txBody>
          <a:bodyPr/>
          <a:lstStyle/>
          <a:p>
            <a:pPr eaLnBrk="1" hangingPunct="1"/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673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heme/theme1.xml><?xml version="1.0" encoding="utf-8"?>
<a:theme xmlns:a="http://schemas.openxmlformats.org/drawingml/2006/main" name="4_Conception personnalisée">
  <a:themeElements>
    <a:clrScheme name="4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294</TotalTime>
  <Words>266</Words>
  <Application>Microsoft Office PowerPoint</Application>
  <PresentationFormat>Affichage à l'écran (4:3)</PresentationFormat>
  <Paragraphs>37</Paragraphs>
  <Slides>4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7" baseType="lpstr">
      <vt:lpstr>4_Conception personnalisée</vt:lpstr>
      <vt:lpstr>1_Conception personnalisée</vt:lpstr>
      <vt:lpstr>think-cell Slide</vt:lpstr>
      <vt:lpstr>Présentation PowerPoint</vt:lpstr>
      <vt:lpstr>Agenda</vt:lpstr>
      <vt:lpstr>Agenda</vt:lpstr>
      <vt:lpstr>Agenda</vt:lpstr>
    </vt:vector>
  </TitlesOfParts>
  <Company>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cription du projet</dc:title>
  <dc:creator>Raymond Allier</dc:creator>
  <cp:lastModifiedBy>Jessica Escaffre</cp:lastModifiedBy>
  <cp:revision>535</cp:revision>
  <cp:lastPrinted>2014-02-17T06:51:15Z</cp:lastPrinted>
  <dcterms:created xsi:type="dcterms:W3CDTF">2013-12-18T14:56:17Z</dcterms:created>
  <dcterms:modified xsi:type="dcterms:W3CDTF">2015-04-02T14:49:47Z</dcterms:modified>
</cp:coreProperties>
</file>